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1663" r:id="rId3"/>
    <p:sldId id="1678" r:id="rId4"/>
    <p:sldId id="1665" r:id="rId5"/>
    <p:sldId id="1666" r:id="rId6"/>
    <p:sldId id="1670" r:id="rId7"/>
    <p:sldId id="1667" r:id="rId8"/>
    <p:sldId id="1676" r:id="rId9"/>
    <p:sldId id="1679" r:id="rId10"/>
    <p:sldId id="1669" r:id="rId11"/>
    <p:sldId id="1677" r:id="rId12"/>
    <p:sldId id="1675" r:id="rId13"/>
    <p:sldId id="1668" r:id="rId14"/>
    <p:sldId id="1671" r:id="rId15"/>
    <p:sldId id="1633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4E4623-975B-4E83-97E7-E1BDBEDDE4F8}" v="6" dt="2023-10-03T14:08:25.7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44" autoAdjust="0"/>
    <p:restoredTop sz="92371" autoAdjust="0"/>
  </p:normalViewPr>
  <p:slideViewPr>
    <p:cSldViewPr snapToGrid="0">
      <p:cViewPr>
        <p:scale>
          <a:sx n="109" d="100"/>
          <a:sy n="109" d="100"/>
        </p:scale>
        <p:origin x="275" y="99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tul Pahlazani" userId="ae1b1d88-21ec-4209-b76f-9d5b955bb3f7" providerId="ADAL" clId="{CD4E4623-975B-4E83-97E7-E1BDBEDDE4F8}"/>
    <pc:docChg chg="undo custSel modSld">
      <pc:chgData name="Atul Pahlazani" userId="ae1b1d88-21ec-4209-b76f-9d5b955bb3f7" providerId="ADAL" clId="{CD4E4623-975B-4E83-97E7-E1BDBEDDE4F8}" dt="2023-10-03T14:22:05.796" v="266" actId="20577"/>
      <pc:docMkLst>
        <pc:docMk/>
      </pc:docMkLst>
      <pc:sldChg chg="modSp mod">
        <pc:chgData name="Atul Pahlazani" userId="ae1b1d88-21ec-4209-b76f-9d5b955bb3f7" providerId="ADAL" clId="{CD4E4623-975B-4E83-97E7-E1BDBEDDE4F8}" dt="2023-10-03T14:22:05.796" v="266" actId="20577"/>
        <pc:sldMkLst>
          <pc:docMk/>
          <pc:sldMk cId="3267775274" sldId="256"/>
        </pc:sldMkLst>
        <pc:spChg chg="mod">
          <ac:chgData name="Atul Pahlazani" userId="ae1b1d88-21ec-4209-b76f-9d5b955bb3f7" providerId="ADAL" clId="{CD4E4623-975B-4E83-97E7-E1BDBEDDE4F8}" dt="2023-10-03T14:22:05.796" v="266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Atul Pahlazani" userId="ae1b1d88-21ec-4209-b76f-9d5b955bb3f7" providerId="ADAL" clId="{CD4E4623-975B-4E83-97E7-E1BDBEDDE4F8}" dt="2023-10-03T14:10:29.410" v="260" actId="20577"/>
        <pc:sldMkLst>
          <pc:docMk/>
          <pc:sldMk cId="3783723319" sldId="1667"/>
        </pc:sldMkLst>
        <pc:spChg chg="add mod">
          <ac:chgData name="Atul Pahlazani" userId="ae1b1d88-21ec-4209-b76f-9d5b955bb3f7" providerId="ADAL" clId="{CD4E4623-975B-4E83-97E7-E1BDBEDDE4F8}" dt="2023-10-03T14:10:29.410" v="260" actId="20577"/>
          <ac:spMkLst>
            <pc:docMk/>
            <pc:sldMk cId="3783723319" sldId="1667"/>
            <ac:spMk id="7" creationId="{F4791678-2344-E4F6-C416-E428D7E3C657}"/>
          </ac:spMkLst>
        </pc:spChg>
        <pc:picChg chg="add mod modCrop">
          <ac:chgData name="Atul Pahlazani" userId="ae1b1d88-21ec-4209-b76f-9d5b955bb3f7" providerId="ADAL" clId="{CD4E4623-975B-4E83-97E7-E1BDBEDDE4F8}" dt="2023-10-03T14:02:07.518" v="18" actId="1036"/>
          <ac:picMkLst>
            <pc:docMk/>
            <pc:sldMk cId="3783723319" sldId="1667"/>
            <ac:picMk id="6" creationId="{CFF242A8-D202-958B-9D76-4033C74F3B40}"/>
          </ac:picMkLst>
        </pc:picChg>
        <pc:picChg chg="del">
          <ac:chgData name="Atul Pahlazani" userId="ae1b1d88-21ec-4209-b76f-9d5b955bb3f7" providerId="ADAL" clId="{CD4E4623-975B-4E83-97E7-E1BDBEDDE4F8}" dt="2023-10-03T14:01:13.919" v="0" actId="478"/>
          <ac:picMkLst>
            <pc:docMk/>
            <pc:sldMk cId="3783723319" sldId="1667"/>
            <ac:picMk id="10" creationId="{C5EB532A-D3E8-6E82-EE93-AF952516CAE4}"/>
          </ac:picMkLst>
        </pc:picChg>
      </pc:sldChg>
      <pc:sldChg chg="addSp delSp modSp mod">
        <pc:chgData name="Atul Pahlazani" userId="ae1b1d88-21ec-4209-b76f-9d5b955bb3f7" providerId="ADAL" clId="{CD4E4623-975B-4E83-97E7-E1BDBEDDE4F8}" dt="2023-10-03T14:09:25.026" v="253" actId="14100"/>
        <pc:sldMkLst>
          <pc:docMk/>
          <pc:sldMk cId="3763565653" sldId="1669"/>
        </pc:sldMkLst>
        <pc:picChg chg="add mod">
          <ac:chgData name="Atul Pahlazani" userId="ae1b1d88-21ec-4209-b76f-9d5b955bb3f7" providerId="ADAL" clId="{CD4E4623-975B-4E83-97E7-E1BDBEDDE4F8}" dt="2023-10-03T14:09:25.026" v="253" actId="14100"/>
          <ac:picMkLst>
            <pc:docMk/>
            <pc:sldMk cId="3763565653" sldId="1669"/>
            <ac:picMk id="6" creationId="{8F3420B8-D107-2AEA-BFDB-290C281DA1F8}"/>
          </ac:picMkLst>
        </pc:picChg>
        <pc:picChg chg="del">
          <ac:chgData name="Atul Pahlazani" userId="ae1b1d88-21ec-4209-b76f-9d5b955bb3f7" providerId="ADAL" clId="{CD4E4623-975B-4E83-97E7-E1BDBEDDE4F8}" dt="2023-10-03T14:09:19.033" v="251" actId="478"/>
          <ac:picMkLst>
            <pc:docMk/>
            <pc:sldMk cId="3763565653" sldId="1669"/>
            <ac:picMk id="8" creationId="{488BD760-6AC1-E1D5-7257-814A8A6D9031}"/>
          </ac:picMkLst>
        </pc:picChg>
      </pc:sldChg>
      <pc:sldChg chg="addSp delSp modSp mod">
        <pc:chgData name="Atul Pahlazani" userId="ae1b1d88-21ec-4209-b76f-9d5b955bb3f7" providerId="ADAL" clId="{CD4E4623-975B-4E83-97E7-E1BDBEDDE4F8}" dt="2023-10-03T14:21:16.830" v="264" actId="1076"/>
        <pc:sldMkLst>
          <pc:docMk/>
          <pc:sldMk cId="1855905636" sldId="1675"/>
        </pc:sldMkLst>
        <pc:picChg chg="del">
          <ac:chgData name="Atul Pahlazani" userId="ae1b1d88-21ec-4209-b76f-9d5b955bb3f7" providerId="ADAL" clId="{CD4E4623-975B-4E83-97E7-E1BDBEDDE4F8}" dt="2023-10-03T14:10:40.545" v="261" actId="478"/>
          <ac:picMkLst>
            <pc:docMk/>
            <pc:sldMk cId="1855905636" sldId="1675"/>
            <ac:picMk id="6" creationId="{06C7E694-F475-432A-AB86-D8E47A03A8A6}"/>
          </ac:picMkLst>
        </pc:picChg>
        <pc:picChg chg="add mod">
          <ac:chgData name="Atul Pahlazani" userId="ae1b1d88-21ec-4209-b76f-9d5b955bb3f7" providerId="ADAL" clId="{CD4E4623-975B-4E83-97E7-E1BDBEDDE4F8}" dt="2023-10-03T14:21:16.830" v="264" actId="1076"/>
          <ac:picMkLst>
            <pc:docMk/>
            <pc:sldMk cId="1855905636" sldId="1675"/>
            <ac:picMk id="8" creationId="{A99FBF55-BDA0-284D-198C-CAAF9521AEB4}"/>
          </ac:picMkLst>
        </pc:picChg>
      </pc:sldChg>
      <pc:sldChg chg="addSp delSp modSp mod">
        <pc:chgData name="Atul Pahlazani" userId="ae1b1d88-21ec-4209-b76f-9d5b955bb3f7" providerId="ADAL" clId="{CD4E4623-975B-4E83-97E7-E1BDBEDDE4F8}" dt="2023-10-03T14:07:48.212" v="245" actId="1076"/>
        <pc:sldMkLst>
          <pc:docMk/>
          <pc:sldMk cId="1187939039" sldId="1676"/>
        </pc:sldMkLst>
        <pc:spChg chg="add mod">
          <ac:chgData name="Atul Pahlazani" userId="ae1b1d88-21ec-4209-b76f-9d5b955bb3f7" providerId="ADAL" clId="{CD4E4623-975B-4E83-97E7-E1BDBEDDE4F8}" dt="2023-10-03T14:06:12.324" v="190" actId="20577"/>
          <ac:spMkLst>
            <pc:docMk/>
            <pc:sldMk cId="1187939039" sldId="1676"/>
            <ac:spMk id="7" creationId="{92E77515-11AC-7A02-2FBB-9EE9F4E765A7}"/>
          </ac:spMkLst>
        </pc:spChg>
        <pc:spChg chg="add mod">
          <ac:chgData name="Atul Pahlazani" userId="ae1b1d88-21ec-4209-b76f-9d5b955bb3f7" providerId="ADAL" clId="{CD4E4623-975B-4E83-97E7-E1BDBEDDE4F8}" dt="2023-10-03T14:07:48.212" v="245" actId="1076"/>
          <ac:spMkLst>
            <pc:docMk/>
            <pc:sldMk cId="1187939039" sldId="1676"/>
            <ac:spMk id="14" creationId="{089FC102-0CCE-BEF0-1427-5E0A22D7E9A4}"/>
          </ac:spMkLst>
        </pc:spChg>
        <pc:picChg chg="add mod">
          <ac:chgData name="Atul Pahlazani" userId="ae1b1d88-21ec-4209-b76f-9d5b955bb3f7" providerId="ADAL" clId="{CD4E4623-975B-4E83-97E7-E1BDBEDDE4F8}" dt="2023-10-03T14:06:01.934" v="188" actId="1076"/>
          <ac:picMkLst>
            <pc:docMk/>
            <pc:sldMk cId="1187939039" sldId="1676"/>
            <ac:picMk id="6" creationId="{F4B69E66-ABCA-E18C-941F-96F56BC67621}"/>
          </ac:picMkLst>
        </pc:picChg>
        <pc:picChg chg="add del">
          <ac:chgData name="Atul Pahlazani" userId="ae1b1d88-21ec-4209-b76f-9d5b955bb3f7" providerId="ADAL" clId="{CD4E4623-975B-4E83-97E7-E1BDBEDDE4F8}" dt="2023-10-03T14:07:05.175" v="197" actId="478"/>
          <ac:picMkLst>
            <pc:docMk/>
            <pc:sldMk cId="1187939039" sldId="1676"/>
            <ac:picMk id="9" creationId="{4312B5F4-63D5-2655-0188-F647400342F1}"/>
          </ac:picMkLst>
        </pc:picChg>
        <pc:picChg chg="add del mod">
          <ac:chgData name="Atul Pahlazani" userId="ae1b1d88-21ec-4209-b76f-9d5b955bb3f7" providerId="ADAL" clId="{CD4E4623-975B-4E83-97E7-E1BDBEDDE4F8}" dt="2023-10-03T14:07:01.775" v="195" actId="22"/>
          <ac:picMkLst>
            <pc:docMk/>
            <pc:sldMk cId="1187939039" sldId="1676"/>
            <ac:picMk id="10" creationId="{87F9B4CE-898D-2FB6-4AA1-408AACDBAB1D}"/>
          </ac:picMkLst>
        </pc:picChg>
        <pc:picChg chg="del mod">
          <ac:chgData name="Atul Pahlazani" userId="ae1b1d88-21ec-4209-b76f-9d5b955bb3f7" providerId="ADAL" clId="{CD4E4623-975B-4E83-97E7-E1BDBEDDE4F8}" dt="2023-10-03T14:05:57.144" v="187" actId="478"/>
          <ac:picMkLst>
            <pc:docMk/>
            <pc:sldMk cId="1187939039" sldId="1676"/>
            <ac:picMk id="11" creationId="{BDED10E5-237D-C4E4-1D0A-9373EC80F03E}"/>
          </ac:picMkLst>
        </pc:picChg>
        <pc:picChg chg="add mod">
          <ac:chgData name="Atul Pahlazani" userId="ae1b1d88-21ec-4209-b76f-9d5b955bb3f7" providerId="ADAL" clId="{CD4E4623-975B-4E83-97E7-E1BDBEDDE4F8}" dt="2023-10-03T14:07:11.392" v="200" actId="14100"/>
          <ac:picMkLst>
            <pc:docMk/>
            <pc:sldMk cId="1187939039" sldId="1676"/>
            <ac:picMk id="13" creationId="{A07A4382-7975-D795-523F-8E6A8E752D88}"/>
          </ac:picMkLst>
        </pc:picChg>
      </pc:sldChg>
      <pc:sldChg chg="addSp delSp modSp mod">
        <pc:chgData name="Atul Pahlazani" userId="ae1b1d88-21ec-4209-b76f-9d5b955bb3f7" providerId="ADAL" clId="{CD4E4623-975B-4E83-97E7-E1BDBEDDE4F8}" dt="2023-10-03T14:10:03.276" v="258" actId="1076"/>
        <pc:sldMkLst>
          <pc:docMk/>
          <pc:sldMk cId="2318069569" sldId="1677"/>
        </pc:sldMkLst>
        <pc:picChg chg="del">
          <ac:chgData name="Atul Pahlazani" userId="ae1b1d88-21ec-4209-b76f-9d5b955bb3f7" providerId="ADAL" clId="{CD4E4623-975B-4E83-97E7-E1BDBEDDE4F8}" dt="2023-10-03T14:09:33.952" v="254" actId="478"/>
          <ac:picMkLst>
            <pc:docMk/>
            <pc:sldMk cId="2318069569" sldId="1677"/>
            <ac:picMk id="6" creationId="{7DAC609E-D547-8112-A2FB-C417F9CF2FF7}"/>
          </ac:picMkLst>
        </pc:picChg>
        <pc:picChg chg="add mod">
          <ac:chgData name="Atul Pahlazani" userId="ae1b1d88-21ec-4209-b76f-9d5b955bb3f7" providerId="ADAL" clId="{CD4E4623-975B-4E83-97E7-E1BDBEDDE4F8}" dt="2023-10-03T14:10:03.276" v="258" actId="1076"/>
          <ac:picMkLst>
            <pc:docMk/>
            <pc:sldMk cId="2318069569" sldId="1677"/>
            <ac:picMk id="8" creationId="{52EA9082-87D2-D962-1CCB-372E8DB0B9CC}"/>
          </ac:picMkLst>
        </pc:picChg>
      </pc:sldChg>
      <pc:sldChg chg="addSp delSp modSp mod">
        <pc:chgData name="Atul Pahlazani" userId="ae1b1d88-21ec-4209-b76f-9d5b955bb3f7" providerId="ADAL" clId="{CD4E4623-975B-4E83-97E7-E1BDBEDDE4F8}" dt="2023-10-03T14:08:32.269" v="250" actId="1076"/>
        <pc:sldMkLst>
          <pc:docMk/>
          <pc:sldMk cId="2658711353" sldId="1679"/>
        </pc:sldMkLst>
        <pc:spChg chg="mod">
          <ac:chgData name="Atul Pahlazani" userId="ae1b1d88-21ec-4209-b76f-9d5b955bb3f7" providerId="ADAL" clId="{CD4E4623-975B-4E83-97E7-E1BDBEDDE4F8}" dt="2023-10-03T14:08:30.400" v="249" actId="1076"/>
          <ac:spMkLst>
            <pc:docMk/>
            <pc:sldMk cId="2658711353" sldId="1679"/>
            <ac:spMk id="4" creationId="{AC775BBB-47BE-D89E-ABB8-8313FC2B382C}"/>
          </ac:spMkLst>
        </pc:spChg>
        <pc:picChg chg="add mod">
          <ac:chgData name="Atul Pahlazani" userId="ae1b1d88-21ec-4209-b76f-9d5b955bb3f7" providerId="ADAL" clId="{CD4E4623-975B-4E83-97E7-E1BDBEDDE4F8}" dt="2023-10-03T14:08:32.269" v="250" actId="1076"/>
          <ac:picMkLst>
            <pc:docMk/>
            <pc:sldMk cId="2658711353" sldId="1679"/>
            <ac:picMk id="6" creationId="{DA903B7C-13D3-E297-57C0-0CEB114DC9FE}"/>
          </ac:picMkLst>
        </pc:picChg>
        <pc:picChg chg="del">
          <ac:chgData name="Atul Pahlazani" userId="ae1b1d88-21ec-4209-b76f-9d5b955bb3f7" providerId="ADAL" clId="{CD4E4623-975B-4E83-97E7-E1BDBEDDE4F8}" dt="2023-10-03T14:08:18.019" v="246" actId="478"/>
          <ac:picMkLst>
            <pc:docMk/>
            <pc:sldMk cId="2658711353" sldId="1679"/>
            <ac:picMk id="7" creationId="{511DA3A5-9003-CA28-34BF-637E083C5D27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10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3/10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B2578B7-8AED-DB21-9820-973A194CFAAB}"/>
              </a:ext>
            </a:extLst>
          </p:cNvPr>
          <p:cNvGrpSpPr/>
          <p:nvPr userDrawn="1"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1F26835-DF06-B8BA-0886-1CDC95B5EF2E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2361CD-B0B1-2C30-BFC9-D696FF94C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03-10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03-10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193980"/>
            <a:ext cx="10525125" cy="1106970"/>
          </a:xfrm>
        </p:spPr>
        <p:txBody>
          <a:bodyPr anchor="b">
            <a:spAutoFit/>
          </a:bodyPr>
          <a:lstStyle/>
          <a:p>
            <a:r>
              <a:rPr lang="en-US" sz="3200" dirty="0"/>
              <a:t>Certification in Advanced Tech Service Engineering</a:t>
            </a:r>
          </a:p>
          <a:p>
            <a:r>
              <a:rPr lang="en-US" sz="3200" dirty="0">
                <a:latin typeface="Arial"/>
                <a:cs typeface="Arial"/>
              </a:rPr>
              <a:t>Proactive Monitoring Case Stud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2400" b="1" dirty="0">
                <a:solidFill>
                  <a:schemeClr val="bg1"/>
                </a:solidFill>
              </a:rPr>
              <a:t>TSE Advanced Batch 2</a:t>
            </a:r>
          </a:p>
          <a:p>
            <a:r>
              <a:rPr lang="en-IN" sz="2000" b="1" dirty="0">
                <a:solidFill>
                  <a:schemeClr val="bg1"/>
                </a:solidFill>
              </a:rPr>
              <a:t>Atul Pahlazani</a:t>
            </a:r>
          </a:p>
          <a:p>
            <a:r>
              <a:rPr lang="en-IN" sz="2000" b="1">
                <a:solidFill>
                  <a:schemeClr val="bg1"/>
                </a:solidFill>
              </a:rPr>
              <a:t>03-OCT-23</a:t>
            </a:r>
            <a:endParaRPr lang="en-IN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 u="sng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C090903-1380-D37F-D19A-26026572304B}"/>
              </a:ext>
            </a:extLst>
          </p:cNvPr>
          <p:cNvSpPr txBox="1"/>
          <p:nvPr/>
        </p:nvSpPr>
        <p:spPr>
          <a:xfrm>
            <a:off x="679622" y="1309816"/>
            <a:ext cx="25207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ertmanager.ym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3420B8-D107-2AEA-BFDB-290C281DA1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5009" y="1474713"/>
            <a:ext cx="9415245" cy="530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656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 u="sng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13E4D86-D3CA-8922-4654-77CFF7635C09}"/>
              </a:ext>
            </a:extLst>
          </p:cNvPr>
          <p:cNvSpPr txBox="1"/>
          <p:nvPr/>
        </p:nvSpPr>
        <p:spPr>
          <a:xfrm>
            <a:off x="902043" y="1482811"/>
            <a:ext cx="2467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ometheus config fi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EA9082-87D2-D962-1CCB-372E8DB0B9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2618" y="962898"/>
            <a:ext cx="6367072" cy="5557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0695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 u="sng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89E9FAF-2553-111D-774A-04CC188B62C5}"/>
              </a:ext>
            </a:extLst>
          </p:cNvPr>
          <p:cNvSpPr txBox="1"/>
          <p:nvPr/>
        </p:nvSpPr>
        <p:spPr>
          <a:xfrm>
            <a:off x="1019432" y="1822622"/>
            <a:ext cx="2198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ack alert examp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9FBF55-BDA0-284D-198C-CAAF9521AE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684" y="520494"/>
            <a:ext cx="4549716" cy="5879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9056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 learnt several integrations that can be done between various tools such as slack, </a:t>
            </a:r>
            <a:r>
              <a:rPr lang="en-US" sz="2000" dirty="0" err="1">
                <a:solidFill>
                  <a:schemeClr val="tx1"/>
                </a:solidFill>
              </a:rPr>
              <a:t>prometheus</a:t>
            </a:r>
            <a:r>
              <a:rPr lang="en-US" sz="2000" dirty="0">
                <a:solidFill>
                  <a:schemeClr val="tx1"/>
                </a:solidFill>
              </a:rPr>
              <a:t>, Grafana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Had to check the available list of activities for each tool. This exploration will help in future as well for other projects as well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 This integration with various programs, platforms, enabling smooth automation across different systems. This platform-agnostic approach allows organizations to proactively monitor systems regardless of the underlying technology stack.</a:t>
            </a: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820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your manager’s feedback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+mj-lt"/>
              </a:rPr>
              <a:t>My Manager was glad that the </a:t>
            </a:r>
            <a:r>
              <a:rPr lang="en-IN" sz="2000" b="0" i="0" dirty="0">
                <a:solidFill>
                  <a:srgbClr val="111111"/>
                </a:solidFill>
                <a:effectLst/>
                <a:latin typeface="+mj-lt"/>
              </a:rPr>
              <a:t>case study is a great example of how Proactive monitoring can help businesses improve their operations and customer satisfaction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IN" sz="2000" dirty="0">
                <a:solidFill>
                  <a:srgbClr val="111111"/>
                </a:solidFill>
                <a:latin typeface="+mj-lt"/>
              </a:rPr>
              <a:t>He is also supportive for the implementation of such Alerting in our team to increase efficiency, accuracy and save time.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8B8A531-91E0-7722-EB90-E2D82354962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421B671-1BEB-8723-9ADD-C48681A06A04}"/>
              </a:ext>
            </a:extLst>
          </p:cNvPr>
          <p:cNvSpPr/>
          <p:nvPr/>
        </p:nvSpPr>
        <p:spPr>
          <a:xfrm>
            <a:off x="528810" y="1134736"/>
            <a:ext cx="10939749" cy="5381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Proactive Monitoring over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 to case study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Learnings &amp; enhancemen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What extra has been implemented in the case study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F0BD011-8015-B125-068E-E4B05D838DC6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09" y="484742"/>
            <a:ext cx="1102421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3E7E601-D7F2-A43C-37FA-BD2736A077CF}"/>
              </a:ext>
            </a:extLst>
          </p:cNvPr>
          <p:cNvSpPr/>
          <p:nvPr/>
        </p:nvSpPr>
        <p:spPr>
          <a:xfrm>
            <a:off x="2576634" y="1538822"/>
            <a:ext cx="7034401" cy="3784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 b="1" dirty="0">
              <a:solidFill>
                <a:schemeClr val="tx1"/>
              </a:solidFill>
            </a:endParaRPr>
          </a:p>
          <a:p>
            <a:endParaRPr lang="en-US" b="1" dirty="0">
              <a:solidFill>
                <a:schemeClr val="tx1"/>
              </a:solidFill>
            </a:endParaRPr>
          </a:p>
          <a:p>
            <a:endParaRPr lang="en-US" b="1" dirty="0">
              <a:solidFill>
                <a:schemeClr val="tx1"/>
              </a:solidFill>
            </a:endParaRPr>
          </a:p>
          <a:p>
            <a:endParaRPr lang="en-US" b="1" dirty="0">
              <a:solidFill>
                <a:schemeClr val="tx1"/>
              </a:solidFill>
            </a:endParaRPr>
          </a:p>
          <a:p>
            <a:pPr algn="ctr"/>
            <a:endParaRPr lang="en-US" b="1" dirty="0">
              <a:solidFill>
                <a:schemeClr val="tx1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tul Pahlazani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Systems Engineer III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Compute </a:t>
            </a:r>
          </a:p>
        </p:txBody>
      </p:sp>
      <p:pic>
        <p:nvPicPr>
          <p:cNvPr id="6" name="Picture 5" descr="A person in a suit and tie&#10;&#10;Description automatically generated">
            <a:extLst>
              <a:ext uri="{FF2B5EF4-FFF2-40B4-BE49-F238E27FC236}">
                <a16:creationId xmlns:a16="http://schemas.microsoft.com/office/drawing/2014/main" id="{B958E865-5C5D-5A4D-4D60-40D395D7AFE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6055" y="1862915"/>
            <a:ext cx="1718166" cy="171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945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0E2BF6DF-89FB-122E-1D49-447D9FB49EC7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active Monitoring overview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EC50FF-6E7A-B7FE-F7EB-72021C2DA8CE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Proactive monitoring is a proactive IT management approach that aims to identify and address issues before they impact system performance or availability.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Enhance system reliability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: Proactive monitoring helps minimize downtime by identifying potential problems early.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Improve performance: It ensures systems operate at peak efficiency.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Alerting Systems: 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Set up alerts for specific thresholds to notify IT teams of potential issues.</a:t>
            </a:r>
          </a:p>
          <a:p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Predictive Analytics: 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Use historical data to predict and prevent future problems.</a:t>
            </a:r>
          </a:p>
          <a:p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Benefits Reduced Downtime: 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Minimize the impact of system outages by addressing issues proactively.</a:t>
            </a:r>
          </a:p>
          <a:p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Better User Experience: 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Ensure a smoother experience for customers and end-users.</a:t>
            </a:r>
          </a:p>
          <a:p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Cost Savings: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 Reduce emergency IT costs and the expenses associated with system failures.</a:t>
            </a:r>
          </a:p>
          <a:p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Implementation </a:t>
            </a:r>
            <a:r>
              <a:rPr lang="en-US" sz="1600" b="1" i="0" dirty="0" err="1">
                <a:solidFill>
                  <a:schemeClr val="tx1"/>
                </a:solidFill>
                <a:effectLst/>
                <a:latin typeface="Slack-Lato"/>
              </a:rPr>
              <a:t>StepsDefine</a:t>
            </a: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 Metrics: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 Determine what aspects of your systems need monitoring and what thresholds are critical.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Establish Workflows: 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Create procedures for addressing alerts and issues identified through proactive monitoring.</a:t>
            </a:r>
          </a:p>
          <a:p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1" i="0" dirty="0">
                <a:solidFill>
                  <a:schemeClr val="tx1"/>
                </a:solidFill>
                <a:effectLst/>
                <a:latin typeface="Slack-Lato"/>
              </a:rPr>
              <a:t>Continuous Improvement: </a:t>
            </a: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Regularly review and refine your monitoring strategy to adapt to changing needs.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b="0" i="0" dirty="0">
                <a:solidFill>
                  <a:schemeClr val="tx1"/>
                </a:solidFill>
                <a:effectLst/>
                <a:latin typeface="Slack-Lato"/>
              </a:rPr>
              <a:t>These points can serve as a foundation for creating a PowerPoint presentation on proactive monitoring.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D83626D-8959-8BF6-C5BD-F474F0B95415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837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 this case study, we prepare ourselves to solve the problem faced frequently in IT operations industry i.e., to enable proactive monitoring for IT systems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 day-to-day operations, other than solving the actual issues that are reported, we must analyze the issue </a:t>
            </a:r>
            <a:r>
              <a:rPr lang="en-US" sz="2000" dirty="0" err="1">
                <a:solidFill>
                  <a:schemeClr val="tx1"/>
                </a:solidFill>
              </a:rPr>
              <a:t>proactivly</a:t>
            </a:r>
            <a:r>
              <a:rPr lang="en-US" sz="2000" dirty="0">
                <a:solidFill>
                  <a:schemeClr val="tx1"/>
                </a:solidFill>
              </a:rPr>
              <a:t>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This helps us in gathering meaningful data, with with we can streamline, finetune and improve existing process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At my workplace, specifically in our operations team, this proactive monitoring would solve business critical down issues due to IT systems down/performance issues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t helps to optimize out operations reporting and improve overall efficiency, minimizes the risk of reactive measures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By automating these tasks, report automation tools free up employees’ time to concentrate on actual technical issues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IN" sz="2000" b="0" i="0" dirty="0">
                <a:solidFill>
                  <a:srgbClr val="111111"/>
                </a:solidFill>
                <a:effectLst/>
              </a:rPr>
              <a:t>Overall, this can achieve increased efficiency and accuracy while minimizing operational expenses.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931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benefi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This allows us to have full control over the reporting system/performance and customize alerts/Metrics based on needs and requirements and </a:t>
            </a:r>
            <a:r>
              <a:rPr lang="en-IN" sz="2000" b="0" i="0" dirty="0">
                <a:solidFill>
                  <a:srgbClr val="111111"/>
                </a:solidFill>
                <a:effectLst/>
              </a:rPr>
              <a:t>makes it easier to </a:t>
            </a:r>
            <a:r>
              <a:rPr lang="en-IN" sz="2000" b="0" i="0" dirty="0" err="1">
                <a:solidFill>
                  <a:srgbClr val="111111"/>
                </a:solidFill>
                <a:effectLst/>
              </a:rPr>
              <a:t>analyze</a:t>
            </a:r>
            <a:r>
              <a:rPr lang="en-IN" sz="2000" b="0" i="0" dirty="0">
                <a:solidFill>
                  <a:srgbClr val="111111"/>
                </a:solidFill>
                <a:effectLst/>
              </a:rPr>
              <a:t> data and identify trends or patterns.</a:t>
            </a: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Proactively predict the issues before the users report.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71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CFF242A8-D202-958B-9D76-4033C74F3B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25"/>
          <a:stretch/>
        </p:blipFill>
        <p:spPr>
          <a:xfrm>
            <a:off x="669540" y="1296993"/>
            <a:ext cx="9484510" cy="50207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4791678-2344-E4F6-C416-E428D7E3C657}"/>
              </a:ext>
            </a:extLst>
          </p:cNvPr>
          <p:cNvSpPr txBox="1"/>
          <p:nvPr/>
        </p:nvSpPr>
        <p:spPr>
          <a:xfrm>
            <a:off x="619995" y="899924"/>
            <a:ext cx="42159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Server uptime and other OS metrics dashboard</a:t>
            </a:r>
            <a:endParaRPr lang="en-IN" sz="1400" b="1" dirty="0"/>
          </a:p>
        </p:txBody>
      </p: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F4B69E66-ABCA-E18C-941F-96F56BC676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077" y="1337145"/>
            <a:ext cx="5955436" cy="41837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2E77515-11AC-7A02-2FBB-9EE9F4E765A7}"/>
              </a:ext>
            </a:extLst>
          </p:cNvPr>
          <p:cNvSpPr txBox="1"/>
          <p:nvPr/>
        </p:nvSpPr>
        <p:spPr>
          <a:xfrm>
            <a:off x="414642" y="1035236"/>
            <a:ext cx="70948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Alerts related to server memory/windows services from Prometheus to Alert Manager</a:t>
            </a:r>
            <a:endParaRPr lang="en-IN" sz="11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7A4382-7975-D795-523F-8E6A8E752D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8889" y="1035237"/>
            <a:ext cx="4294068" cy="47088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89FC102-0CCE-BEF0-1427-5E0A22D7E9A4}"/>
              </a:ext>
            </a:extLst>
          </p:cNvPr>
          <p:cNvSpPr txBox="1"/>
          <p:nvPr/>
        </p:nvSpPr>
        <p:spPr>
          <a:xfrm>
            <a:off x="7623672" y="776026"/>
            <a:ext cx="2704689" cy="259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Alert notifications to Slack example</a:t>
            </a:r>
            <a:endParaRPr lang="en-IN" sz="1100" b="1" dirty="0"/>
          </a:p>
        </p:txBody>
      </p:sp>
    </p:spTree>
    <p:extLst>
      <p:ext uri="{BB962C8B-B14F-4D97-AF65-F5344CB8AC3E}">
        <p14:creationId xmlns:p14="http://schemas.microsoft.com/office/powerpoint/2010/main" val="1187939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C775BBB-47BE-D89E-ABB8-8313FC2B382C}"/>
              </a:ext>
            </a:extLst>
          </p:cNvPr>
          <p:cNvSpPr txBox="1"/>
          <p:nvPr/>
        </p:nvSpPr>
        <p:spPr>
          <a:xfrm>
            <a:off x="876857" y="1125538"/>
            <a:ext cx="2172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afana dashboa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903B7C-13D3-E297-57C0-0CEB114DC9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25"/>
          <a:stretch/>
        </p:blipFill>
        <p:spPr>
          <a:xfrm>
            <a:off x="949377" y="1499467"/>
            <a:ext cx="9484510" cy="502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711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03</TotalTime>
  <Words>655</Words>
  <Application>Microsoft Office PowerPoint</Application>
  <PresentationFormat>Widescreen</PresentationFormat>
  <Paragraphs>7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Slack-Lat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Atul Pahlazani</cp:lastModifiedBy>
  <cp:revision>448</cp:revision>
  <dcterms:created xsi:type="dcterms:W3CDTF">2022-01-18T12:35:56Z</dcterms:created>
  <dcterms:modified xsi:type="dcterms:W3CDTF">2023-10-03T14:2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</Properties>
</file>